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36" autoAdjust="0"/>
    <p:restoredTop sz="86395"/>
  </p:normalViewPr>
  <p:slideViewPr>
    <p:cSldViewPr snapToGrid="0">
      <p:cViewPr varScale="1">
        <p:scale>
          <a:sx n="83" d="100"/>
          <a:sy n="83" d="100"/>
        </p:scale>
        <p:origin x="677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  <a:lvl4pPr marL="715962" indent="0">
              <a:buNone/>
              <a:defRPr/>
            </a:lvl4pPr>
            <a:lvl5pPr marL="1001712" indent="0">
              <a:buNone/>
              <a:defRPr/>
            </a:lvl5pPr>
          </a:lstStyle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7A10-E48D-48DC-B8F1-7E91AACA70F7}" type="datetimeFigureOut">
              <a:rPr lang="de-CH" smtClean="0"/>
              <a:t>17.1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086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5" imgW="372" imgH="369" progId="TCLayout.ActiveDocument.1">
                  <p:embed/>
                </p:oleObj>
              </mc:Choice>
              <mc:Fallback>
                <p:oleObj name="think-cell Folie" r:id="rId5" imgW="372" imgH="3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4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200" b="1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66700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47675" indent="-180975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00125" indent="-28416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14450" indent="-31273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716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erade Verbindung mit Pfeil 61"/>
          <p:cNvCxnSpPr/>
          <p:nvPr/>
        </p:nvCxnSpPr>
        <p:spPr>
          <a:xfrm>
            <a:off x="2280122" y="5012382"/>
            <a:ext cx="3311822" cy="0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V="1">
            <a:off x="2280122" y="1628007"/>
            <a:ext cx="0" cy="3355021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453153" y="1340769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569084" y="4858494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ity</a:t>
            </a:r>
          </a:p>
        </p:txBody>
      </p:sp>
      <p:sp>
        <p:nvSpPr>
          <p:cNvPr id="66" name="Rechteck 65"/>
          <p:cNvSpPr/>
          <p:nvPr/>
        </p:nvSpPr>
        <p:spPr>
          <a:xfrm>
            <a:off x="2355023" y="4040374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2355023" y="3104370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355023" y="2168366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3329923" y="4039082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3329923" y="3103078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329923" y="2167074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06588" y="4040374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06588" y="3104370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4306588" y="2168366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631505" y="2463186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1631505" y="4346572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1631505" y="3394394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5007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4756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4446734" y="5041738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82" name="Ellipse 81"/>
          <p:cNvSpPr/>
          <p:nvPr/>
        </p:nvSpPr>
        <p:spPr>
          <a:xfrm>
            <a:off x="3464648" y="32376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4" name="Ellipse 83"/>
          <p:cNvSpPr/>
          <p:nvPr/>
        </p:nvSpPr>
        <p:spPr>
          <a:xfrm>
            <a:off x="3643044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3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5" name="Ellipse 84"/>
          <p:cNvSpPr/>
          <p:nvPr/>
        </p:nvSpPr>
        <p:spPr>
          <a:xfrm>
            <a:off x="6788791" y="218742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6" name="Ellipse 85"/>
          <p:cNvSpPr/>
          <p:nvPr/>
        </p:nvSpPr>
        <p:spPr>
          <a:xfrm>
            <a:off x="6788791" y="313121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3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Ellipse 86"/>
          <p:cNvSpPr/>
          <p:nvPr/>
        </p:nvSpPr>
        <p:spPr>
          <a:xfrm>
            <a:off x="6788791" y="407501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7072188" y="2193360"/>
            <a:ext cx="44270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ht-existentielle Flächenverarbeitungsalgorithmen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7072188" y="3142436"/>
            <a:ext cx="43531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 eignet sich nicht für die Vorverarbeitung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072188" y="4091512"/>
            <a:ext cx="4602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mdsysteme bieten nicht die geforderte Funktionalität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Ellipse 84"/>
          <p:cNvSpPr/>
          <p:nvPr/>
        </p:nvSpPr>
        <p:spPr>
          <a:xfrm>
            <a:off x="6788791" y="268378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7072188" y="2689721"/>
            <a:ext cx="4602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wierigkeiten mit der Implementation der Algorithmen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Ellipse 84"/>
          <p:cNvSpPr/>
          <p:nvPr/>
        </p:nvSpPr>
        <p:spPr>
          <a:xfrm>
            <a:off x="6788791" y="360199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072188" y="3607930"/>
            <a:ext cx="36604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e Abhängigkeiten auf Fremdsysteme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Ellipse 84"/>
          <p:cNvSpPr/>
          <p:nvPr/>
        </p:nvSpPr>
        <p:spPr>
          <a:xfrm>
            <a:off x="6788791" y="455106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7072188" y="4557006"/>
            <a:ext cx="3159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r>
              <a:rPr lang="de-CH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u gross angesetzt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Ellipse 80"/>
          <p:cNvSpPr/>
          <p:nvPr/>
        </p:nvSpPr>
        <p:spPr>
          <a:xfrm>
            <a:off x="3847285" y="32376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</a:p>
        </p:txBody>
      </p:sp>
      <p:sp>
        <p:nvSpPr>
          <p:cNvPr id="40" name="Ellipse 83"/>
          <p:cNvSpPr/>
          <p:nvPr/>
        </p:nvSpPr>
        <p:spPr>
          <a:xfrm>
            <a:off x="3847285" y="3650802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</a:t>
            </a:r>
          </a:p>
        </p:txBody>
      </p:sp>
      <p:sp>
        <p:nvSpPr>
          <p:cNvPr id="44" name="Ellipse 83"/>
          <p:cNvSpPr/>
          <p:nvPr/>
        </p:nvSpPr>
        <p:spPr>
          <a:xfrm>
            <a:off x="2491965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600" dirty="0">
                <a:solidFill>
                  <a:srgbClr val="FFFFFF"/>
                </a:solidFill>
              </a:rPr>
              <a:t>2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5" name="Ellipse 83"/>
          <p:cNvSpPr/>
          <p:nvPr/>
        </p:nvSpPr>
        <p:spPr>
          <a:xfrm>
            <a:off x="2886313" y="436634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15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issLife_German">
  <a:themeElements>
    <a:clrScheme name="Standarddesig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8C8C8C"/>
      </a:accent2>
      <a:accent3>
        <a:srgbClr val="FFFFFF"/>
      </a:accent3>
      <a:accent4>
        <a:srgbClr val="000000"/>
      </a:accent4>
      <a:accent5>
        <a:srgbClr val="CDABAE"/>
      </a:accent5>
      <a:accent6>
        <a:srgbClr val="7E7E7E"/>
      </a:accent6>
      <a:hlink>
        <a:srgbClr val="E8E199"/>
      </a:hlink>
      <a:folHlink>
        <a:srgbClr val="D82034"/>
      </a:folHlink>
    </a:clrScheme>
    <a:fontScheme name="1_SwissLife_Germa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8C8C8C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7E7E7E"/>
        </a:accent6>
        <a:hlink>
          <a:srgbClr val="E8E199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</Words>
  <Application>Microsoft Office PowerPoint</Application>
  <PresentationFormat>Breitbild</PresentationFormat>
  <Paragraphs>2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1_SwissLife_German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Matter</dc:creator>
  <cp:lastModifiedBy>Jonas Matter</cp:lastModifiedBy>
  <cp:revision>11</cp:revision>
  <dcterms:created xsi:type="dcterms:W3CDTF">2017-03-01T17:35:08Z</dcterms:created>
  <dcterms:modified xsi:type="dcterms:W3CDTF">2017-12-17T10:41:01Z</dcterms:modified>
</cp:coreProperties>
</file>